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4C7AC9-1441-4A13-9CE2-64102AA9E7C5}" v="33" dt="2024-09-06T15:56:37.5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3447" autoAdjust="0"/>
  </p:normalViewPr>
  <p:slideViewPr>
    <p:cSldViewPr snapToGrid="0">
      <p:cViewPr varScale="1">
        <p:scale>
          <a:sx n="63" d="100"/>
          <a:sy n="63" d="100"/>
        </p:scale>
        <p:origin x="804" y="5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Mohandas, Gayathri SBOBNG-PTIY/DSC" userId="e39378b6-4b10-4827-a509-661089488511" providerId="ADAL" clId="{6C228171-261B-4939-9A95-6383E3C9EC66}"/>
    <pc:docChg chg="modSld">
      <pc:chgData name="Mohandas, Gayathri SBOBNG-PTIY/DSC" userId="e39378b6-4b10-4827-a509-661089488511" providerId="ADAL" clId="{6C228171-261B-4939-9A95-6383E3C9EC66}" dt="2024-09-06T15:32:38.959" v="12" actId="20577"/>
      <pc:docMkLst>
        <pc:docMk/>
      </pc:docMkLst>
      <pc:sldChg chg="modSp mod">
        <pc:chgData name="Mohandas, Gayathri SBOBNG-PTIY/DSC" userId="e39378b6-4b10-4827-a509-661089488511" providerId="ADAL" clId="{6C228171-261B-4939-9A95-6383E3C9EC66}" dt="2024-09-06T15:32:38.959" v="12" actId="20577"/>
        <pc:sldMkLst>
          <pc:docMk/>
          <pc:sldMk cId="3267775274" sldId="256"/>
        </pc:sldMkLst>
        <pc:spChg chg="mod">
          <ac:chgData name="Mohandas, Gayathri SBOBNG-PTIY/DSC" userId="e39378b6-4b10-4827-a509-661089488511" providerId="ADAL" clId="{6C228171-261B-4939-9A95-6383E3C9EC66}" dt="2024-09-06T15:32:22.759" v="1" actId="20577"/>
          <ac:spMkLst>
            <pc:docMk/>
            <pc:sldMk cId="3267775274" sldId="256"/>
            <ac:spMk id="6" creationId="{0C37A4A8-A3C7-407F-B123-88E2E165C827}"/>
          </ac:spMkLst>
        </pc:spChg>
        <pc:spChg chg="mod">
          <ac:chgData name="Mohandas, Gayathri SBOBNG-PTIY/DSC" userId="e39378b6-4b10-4827-a509-661089488511" providerId="ADAL" clId="{6C228171-261B-4939-9A95-6383E3C9EC66}" dt="2024-09-06T15:32:38.959" v="12" actId="20577"/>
          <ac:spMkLst>
            <pc:docMk/>
            <pc:sldMk cId="3267775274" sldId="256"/>
            <ac:spMk id="13" creationId="{C48F8DD6-A1B3-8126-FAC3-218B712C7FFB}"/>
          </ac:spMkLst>
        </pc:spChg>
      </pc:sldChg>
    </pc:docChg>
  </pc:docChgLst>
  <pc:docChgLst>
    <pc:chgData name="Mohandas, Gayathri SBOBNG-PTIY/DSC" userId="e39378b6-4b10-4827-a509-661089488511" providerId="ADAL" clId="{CB4C7AC9-1441-4A13-9CE2-64102AA9E7C5}"/>
    <pc:docChg chg="undo custSel modSld">
      <pc:chgData name="Mohandas, Gayathri SBOBNG-PTIY/DSC" userId="e39378b6-4b10-4827-a509-661089488511" providerId="ADAL" clId="{CB4C7AC9-1441-4A13-9CE2-64102AA9E7C5}" dt="2024-09-06T16:01:55.983" v="812" actId="1076"/>
      <pc:docMkLst>
        <pc:docMk/>
      </pc:docMkLst>
      <pc:sldChg chg="addSp delSp modSp mod">
        <pc:chgData name="Mohandas, Gayathri SBOBNG-PTIY/DSC" userId="e39378b6-4b10-4827-a509-661089488511" providerId="ADAL" clId="{CB4C7AC9-1441-4A13-9CE2-64102AA9E7C5}" dt="2024-09-06T15:40:10.044" v="25"/>
        <pc:sldMkLst>
          <pc:docMk/>
          <pc:sldMk cId="245881457" sldId="2147375597"/>
        </pc:sldMkLst>
        <pc:spChg chg="mod">
          <ac:chgData name="Mohandas, Gayathri SBOBNG-PTIY/DSC" userId="e39378b6-4b10-4827-a509-661089488511" providerId="ADAL" clId="{CB4C7AC9-1441-4A13-9CE2-64102AA9E7C5}" dt="2024-09-06T15:40:10.044" v="25"/>
          <ac:spMkLst>
            <pc:docMk/>
            <pc:sldMk cId="245881457" sldId="2147375597"/>
            <ac:spMk id="11" creationId="{DE9F1BE0-7910-FA1B-DCE8-56EFD1E4FC09}"/>
          </ac:spMkLst>
        </pc:spChg>
        <pc:graphicFrameChg chg="add mod">
          <ac:chgData name="Mohandas, Gayathri SBOBNG-PTIY/DSC" userId="e39378b6-4b10-4827-a509-661089488511" providerId="ADAL" clId="{CB4C7AC9-1441-4A13-9CE2-64102AA9E7C5}" dt="2024-09-06T15:36:06.581" v="2"/>
          <ac:graphicFrameMkLst>
            <pc:docMk/>
            <pc:sldMk cId="245881457" sldId="2147375597"/>
            <ac:graphicFrameMk id="2" creationId="{202DA6E8-33B7-7D1F-1917-449B2463786E}"/>
          </ac:graphicFrameMkLst>
        </pc:graphicFrameChg>
        <pc:picChg chg="add mod">
          <ac:chgData name="Mohandas, Gayathri SBOBNG-PTIY/DSC" userId="e39378b6-4b10-4827-a509-661089488511" providerId="ADAL" clId="{CB4C7AC9-1441-4A13-9CE2-64102AA9E7C5}" dt="2024-09-06T15:37:50.470" v="12" actId="14100"/>
          <ac:picMkLst>
            <pc:docMk/>
            <pc:sldMk cId="245881457" sldId="2147375597"/>
            <ac:picMk id="1026" creationId="{24D07740-77CB-EC86-C5FF-D2D962E7D693}"/>
          </ac:picMkLst>
        </pc:picChg>
        <pc:picChg chg="del">
          <ac:chgData name="Mohandas, Gayathri SBOBNG-PTIY/DSC" userId="e39378b6-4b10-4827-a509-661089488511" providerId="ADAL" clId="{CB4C7AC9-1441-4A13-9CE2-64102AA9E7C5}" dt="2024-09-06T15:37:30.637" v="7" actId="478"/>
          <ac:picMkLst>
            <pc:docMk/>
            <pc:sldMk cId="245881457" sldId="2147375597"/>
            <ac:picMk id="1034" creationId="{E2BCF55D-3545-9BFD-AF63-72CE8C5C104C}"/>
          </ac:picMkLst>
        </pc:picChg>
      </pc:sldChg>
      <pc:sldChg chg="addSp delSp modSp mod">
        <pc:chgData name="Mohandas, Gayathri SBOBNG-PTIY/DSC" userId="e39378b6-4b10-4827-a509-661089488511" providerId="ADAL" clId="{CB4C7AC9-1441-4A13-9CE2-64102AA9E7C5}" dt="2024-09-06T15:39:57.372" v="23" actId="20577"/>
        <pc:sldMkLst>
          <pc:docMk/>
          <pc:sldMk cId="1181112711" sldId="2147375600"/>
        </pc:sldMkLst>
        <pc:spChg chg="mod">
          <ac:chgData name="Mohandas, Gayathri SBOBNG-PTIY/DSC" userId="e39378b6-4b10-4827-a509-661089488511" providerId="ADAL" clId="{CB4C7AC9-1441-4A13-9CE2-64102AA9E7C5}" dt="2024-09-06T15:39:57.372" v="23" actId="20577"/>
          <ac:spMkLst>
            <pc:docMk/>
            <pc:sldMk cId="1181112711" sldId="2147375600"/>
            <ac:spMk id="11" creationId="{DE9F1BE0-7910-FA1B-DCE8-56EFD1E4FC09}"/>
          </ac:spMkLst>
        </pc:spChg>
        <pc:picChg chg="del">
          <ac:chgData name="Mohandas, Gayathri SBOBNG-PTIY/DSC" userId="e39378b6-4b10-4827-a509-661089488511" providerId="ADAL" clId="{CB4C7AC9-1441-4A13-9CE2-64102AA9E7C5}" dt="2024-09-06T15:39:10.256" v="13" actId="478"/>
          <ac:picMkLst>
            <pc:docMk/>
            <pc:sldMk cId="1181112711" sldId="2147375600"/>
            <ac:picMk id="5" creationId="{BA530E5F-4117-ED3F-FDE6-37DB19DCFB06}"/>
          </ac:picMkLst>
        </pc:picChg>
        <pc:picChg chg="add mod">
          <ac:chgData name="Mohandas, Gayathri SBOBNG-PTIY/DSC" userId="e39378b6-4b10-4827-a509-661089488511" providerId="ADAL" clId="{CB4C7AC9-1441-4A13-9CE2-64102AA9E7C5}" dt="2024-09-06T15:39:23.951" v="18" actId="1076"/>
          <ac:picMkLst>
            <pc:docMk/>
            <pc:sldMk cId="1181112711" sldId="2147375600"/>
            <ac:picMk id="6" creationId="{8DEEEA3F-A50F-A92E-0679-68B64E5FDB54}"/>
          </ac:picMkLst>
        </pc:picChg>
      </pc:sldChg>
      <pc:sldChg chg="addSp delSp modSp mod">
        <pc:chgData name="Mohandas, Gayathri SBOBNG-PTIY/DSC" userId="e39378b6-4b10-4827-a509-661089488511" providerId="ADAL" clId="{CB4C7AC9-1441-4A13-9CE2-64102AA9E7C5}" dt="2024-09-06T15:43:01.372" v="54" actId="20577"/>
        <pc:sldMkLst>
          <pc:docMk/>
          <pc:sldMk cId="3233747587" sldId="2147375601"/>
        </pc:sldMkLst>
        <pc:spChg chg="add del">
          <ac:chgData name="Mohandas, Gayathri SBOBNG-PTIY/DSC" userId="e39378b6-4b10-4827-a509-661089488511" providerId="ADAL" clId="{CB4C7AC9-1441-4A13-9CE2-64102AA9E7C5}" dt="2024-09-06T15:41:46.606" v="28" actId="478"/>
          <ac:spMkLst>
            <pc:docMk/>
            <pc:sldMk cId="3233747587" sldId="2147375601"/>
            <ac:spMk id="2" creationId="{06D01D3B-2040-A1A9-BAB2-54BD5FBEDF9E}"/>
          </ac:spMkLst>
        </pc:spChg>
        <pc:spChg chg="add del">
          <ac:chgData name="Mohandas, Gayathri SBOBNG-PTIY/DSC" userId="e39378b6-4b10-4827-a509-661089488511" providerId="ADAL" clId="{CB4C7AC9-1441-4A13-9CE2-64102AA9E7C5}" dt="2024-09-06T15:41:56.939" v="30" actId="478"/>
          <ac:spMkLst>
            <pc:docMk/>
            <pc:sldMk cId="3233747587" sldId="2147375601"/>
            <ac:spMk id="6" creationId="{FA31FBA6-E747-E704-50E0-E84A03163608}"/>
          </ac:spMkLst>
        </pc:spChg>
        <pc:spChg chg="add del">
          <ac:chgData name="Mohandas, Gayathri SBOBNG-PTIY/DSC" userId="e39378b6-4b10-4827-a509-661089488511" providerId="ADAL" clId="{CB4C7AC9-1441-4A13-9CE2-64102AA9E7C5}" dt="2024-09-06T15:42:16.946" v="32" actId="478"/>
          <ac:spMkLst>
            <pc:docMk/>
            <pc:sldMk cId="3233747587" sldId="2147375601"/>
            <ac:spMk id="8" creationId="{8F8AB8EC-E5BA-9C44-B6CB-8262B96DF36C}"/>
          </ac:spMkLst>
        </pc:spChg>
        <pc:spChg chg="mod">
          <ac:chgData name="Mohandas, Gayathri SBOBNG-PTIY/DSC" userId="e39378b6-4b10-4827-a509-661089488511" providerId="ADAL" clId="{CB4C7AC9-1441-4A13-9CE2-64102AA9E7C5}" dt="2024-09-06T15:43:01.372" v="54" actId="20577"/>
          <ac:spMkLst>
            <pc:docMk/>
            <pc:sldMk cId="3233747587" sldId="2147375601"/>
            <ac:spMk id="11" creationId="{DE9F1BE0-7910-FA1B-DCE8-56EFD1E4FC09}"/>
          </ac:spMkLst>
        </pc:spChg>
        <pc:picChg chg="del">
          <ac:chgData name="Mohandas, Gayathri SBOBNG-PTIY/DSC" userId="e39378b6-4b10-4827-a509-661089488511" providerId="ADAL" clId="{CB4C7AC9-1441-4A13-9CE2-64102AA9E7C5}" dt="2024-09-06T15:41:44.178" v="26" actId="478"/>
          <ac:picMkLst>
            <pc:docMk/>
            <pc:sldMk cId="3233747587" sldId="2147375601"/>
            <ac:picMk id="5" creationId="{5B9EE758-CF2E-1D2C-4D80-0F192C01FF05}"/>
          </ac:picMkLst>
        </pc:picChg>
        <pc:picChg chg="add mod">
          <ac:chgData name="Mohandas, Gayathri SBOBNG-PTIY/DSC" userId="e39378b6-4b10-4827-a509-661089488511" providerId="ADAL" clId="{CB4C7AC9-1441-4A13-9CE2-64102AA9E7C5}" dt="2024-09-06T15:42:31.733" v="35" actId="1076"/>
          <ac:picMkLst>
            <pc:docMk/>
            <pc:sldMk cId="3233747587" sldId="2147375601"/>
            <ac:picMk id="2056" creationId="{7EE043F5-797C-C08F-B90F-32E4B445393C}"/>
          </ac:picMkLst>
        </pc:picChg>
      </pc:sldChg>
      <pc:sldChg chg="addSp delSp modSp mod">
        <pc:chgData name="Mohandas, Gayathri SBOBNG-PTIY/DSC" userId="e39378b6-4b10-4827-a509-661089488511" providerId="ADAL" clId="{CB4C7AC9-1441-4A13-9CE2-64102AA9E7C5}" dt="2024-09-06T15:46:00.111" v="376" actId="1076"/>
        <pc:sldMkLst>
          <pc:docMk/>
          <pc:sldMk cId="3971512377" sldId="2147375603"/>
        </pc:sldMkLst>
        <pc:spChg chg="mod">
          <ac:chgData name="Mohandas, Gayathri SBOBNG-PTIY/DSC" userId="e39378b6-4b10-4827-a509-661089488511" providerId="ADAL" clId="{CB4C7AC9-1441-4A13-9CE2-64102AA9E7C5}" dt="2024-09-06T15:45:00.312" v="367" actId="20577"/>
          <ac:spMkLst>
            <pc:docMk/>
            <pc:sldMk cId="3971512377" sldId="2147375603"/>
            <ac:spMk id="11" creationId="{DE9F1BE0-7910-FA1B-DCE8-56EFD1E4FC09}"/>
          </ac:spMkLst>
        </pc:spChg>
        <pc:spChg chg="del mod">
          <ac:chgData name="Mohandas, Gayathri SBOBNG-PTIY/DSC" userId="e39378b6-4b10-4827-a509-661089488511" providerId="ADAL" clId="{CB4C7AC9-1441-4A13-9CE2-64102AA9E7C5}" dt="2024-09-06T15:45:57.629" v="374" actId="478"/>
          <ac:spMkLst>
            <pc:docMk/>
            <pc:sldMk cId="3971512377" sldId="2147375603"/>
            <ac:spMk id="12" creationId="{E53E5C3F-4D2B-B85F-E592-E58E032C664C}"/>
          </ac:spMkLst>
        </pc:spChg>
        <pc:picChg chg="del">
          <ac:chgData name="Mohandas, Gayathri SBOBNG-PTIY/DSC" userId="e39378b6-4b10-4827-a509-661089488511" providerId="ADAL" clId="{CB4C7AC9-1441-4A13-9CE2-64102AA9E7C5}" dt="2024-09-06T15:45:44.383" v="368" actId="478"/>
          <ac:picMkLst>
            <pc:docMk/>
            <pc:sldMk cId="3971512377" sldId="2147375603"/>
            <ac:picMk id="2" creationId="{DB576A93-3A18-F4AD-F1D4-BB9E961825EC}"/>
          </ac:picMkLst>
        </pc:picChg>
        <pc:picChg chg="add mod">
          <ac:chgData name="Mohandas, Gayathri SBOBNG-PTIY/DSC" userId="e39378b6-4b10-4827-a509-661089488511" providerId="ADAL" clId="{CB4C7AC9-1441-4A13-9CE2-64102AA9E7C5}" dt="2024-09-06T15:45:54.134" v="373" actId="1076"/>
          <ac:picMkLst>
            <pc:docMk/>
            <pc:sldMk cId="3971512377" sldId="2147375603"/>
            <ac:picMk id="3074" creationId="{76B2FEC9-57A0-6E4E-E84B-1EB7EB419E85}"/>
          </ac:picMkLst>
        </pc:picChg>
        <pc:picChg chg="add mod">
          <ac:chgData name="Mohandas, Gayathri SBOBNG-PTIY/DSC" userId="e39378b6-4b10-4827-a509-661089488511" providerId="ADAL" clId="{CB4C7AC9-1441-4A13-9CE2-64102AA9E7C5}" dt="2024-09-06T15:46:00.111" v="376" actId="1076"/>
          <ac:picMkLst>
            <pc:docMk/>
            <pc:sldMk cId="3971512377" sldId="2147375603"/>
            <ac:picMk id="3076" creationId="{7DAA1557-2AFC-91FD-E329-4C0B7A64DECB}"/>
          </ac:picMkLst>
        </pc:picChg>
      </pc:sldChg>
      <pc:sldChg chg="addSp delSp modSp mod">
        <pc:chgData name="Mohandas, Gayathri SBOBNG-PTIY/DSC" userId="e39378b6-4b10-4827-a509-661089488511" providerId="ADAL" clId="{CB4C7AC9-1441-4A13-9CE2-64102AA9E7C5}" dt="2024-09-06T15:48:48.994" v="420" actId="20577"/>
        <pc:sldMkLst>
          <pc:docMk/>
          <pc:sldMk cId="3179805674" sldId="2147375604"/>
        </pc:sldMkLst>
        <pc:spChg chg="mod">
          <ac:chgData name="Mohandas, Gayathri SBOBNG-PTIY/DSC" userId="e39378b6-4b10-4827-a509-661089488511" providerId="ADAL" clId="{CB4C7AC9-1441-4A13-9CE2-64102AA9E7C5}" dt="2024-09-06T15:48:48.994" v="420" actId="20577"/>
          <ac:spMkLst>
            <pc:docMk/>
            <pc:sldMk cId="3179805674" sldId="2147375604"/>
            <ac:spMk id="11" creationId="{DE9F1BE0-7910-FA1B-DCE8-56EFD1E4FC09}"/>
          </ac:spMkLst>
        </pc:spChg>
        <pc:picChg chg="add mod">
          <ac:chgData name="Mohandas, Gayathri SBOBNG-PTIY/DSC" userId="e39378b6-4b10-4827-a509-661089488511" providerId="ADAL" clId="{CB4C7AC9-1441-4A13-9CE2-64102AA9E7C5}" dt="2024-09-06T15:47:15.254" v="378"/>
          <ac:picMkLst>
            <pc:docMk/>
            <pc:sldMk cId="3179805674" sldId="2147375604"/>
            <ac:picMk id="2" creationId="{27D3D9B3-8CF5-CD02-9B12-6D43532CAB31}"/>
          </ac:picMkLst>
        </pc:picChg>
        <pc:picChg chg="del">
          <ac:chgData name="Mohandas, Gayathri SBOBNG-PTIY/DSC" userId="e39378b6-4b10-4827-a509-661089488511" providerId="ADAL" clId="{CB4C7AC9-1441-4A13-9CE2-64102AA9E7C5}" dt="2024-09-06T15:47:14.586" v="377" actId="478"/>
          <ac:picMkLst>
            <pc:docMk/>
            <pc:sldMk cId="3179805674" sldId="2147375604"/>
            <ac:picMk id="3076" creationId="{FCB2026C-238C-F56D-09ED-6E39CE37B9FA}"/>
          </ac:picMkLst>
        </pc:picChg>
      </pc:sldChg>
      <pc:sldChg chg="addSp delSp modSp mod">
        <pc:chgData name="Mohandas, Gayathri SBOBNG-PTIY/DSC" userId="e39378b6-4b10-4827-a509-661089488511" providerId="ADAL" clId="{CB4C7AC9-1441-4A13-9CE2-64102AA9E7C5}" dt="2024-09-06T15:51:23.310" v="492" actId="1076"/>
        <pc:sldMkLst>
          <pc:docMk/>
          <pc:sldMk cId="86366928" sldId="2147375605"/>
        </pc:sldMkLst>
        <pc:spChg chg="mod">
          <ac:chgData name="Mohandas, Gayathri SBOBNG-PTIY/DSC" userId="e39378b6-4b10-4827-a509-661089488511" providerId="ADAL" clId="{CB4C7AC9-1441-4A13-9CE2-64102AA9E7C5}" dt="2024-09-06T15:50:40.153" v="488" actId="20577"/>
          <ac:spMkLst>
            <pc:docMk/>
            <pc:sldMk cId="86366928" sldId="2147375605"/>
            <ac:spMk id="11" creationId="{DE9F1BE0-7910-FA1B-DCE8-56EFD1E4FC09}"/>
          </ac:spMkLst>
        </pc:spChg>
        <pc:picChg chg="del">
          <ac:chgData name="Mohandas, Gayathri SBOBNG-PTIY/DSC" userId="e39378b6-4b10-4827-a509-661089488511" providerId="ADAL" clId="{CB4C7AC9-1441-4A13-9CE2-64102AA9E7C5}" dt="2024-09-06T15:50:49.730" v="489" actId="478"/>
          <ac:picMkLst>
            <pc:docMk/>
            <pc:sldMk cId="86366928" sldId="2147375605"/>
            <ac:picMk id="6" creationId="{90C0CB8E-B1E1-F81C-3AEE-C3C35D200B5E}"/>
          </ac:picMkLst>
        </pc:picChg>
        <pc:picChg chg="add mod">
          <ac:chgData name="Mohandas, Gayathri SBOBNG-PTIY/DSC" userId="e39378b6-4b10-4827-a509-661089488511" providerId="ADAL" clId="{CB4C7AC9-1441-4A13-9CE2-64102AA9E7C5}" dt="2024-09-06T15:51:23.310" v="492" actId="1076"/>
          <ac:picMkLst>
            <pc:docMk/>
            <pc:sldMk cId="86366928" sldId="2147375605"/>
            <ac:picMk id="4098" creationId="{58F9E0EB-0610-BD4C-BC8D-1915674A3835}"/>
          </ac:picMkLst>
        </pc:picChg>
      </pc:sldChg>
      <pc:sldChg chg="addSp delSp modSp mod">
        <pc:chgData name="Mohandas, Gayathri SBOBNG-PTIY/DSC" userId="e39378b6-4b10-4827-a509-661089488511" providerId="ADAL" clId="{CB4C7AC9-1441-4A13-9CE2-64102AA9E7C5}" dt="2024-09-06T15:52:48.443" v="537" actId="1076"/>
        <pc:sldMkLst>
          <pc:docMk/>
          <pc:sldMk cId="2340944189" sldId="2147375607"/>
        </pc:sldMkLst>
        <pc:spChg chg="mod">
          <ac:chgData name="Mohandas, Gayathri SBOBNG-PTIY/DSC" userId="e39378b6-4b10-4827-a509-661089488511" providerId="ADAL" clId="{CB4C7AC9-1441-4A13-9CE2-64102AA9E7C5}" dt="2024-09-06T15:52:14.293" v="534" actId="20577"/>
          <ac:spMkLst>
            <pc:docMk/>
            <pc:sldMk cId="2340944189" sldId="2147375607"/>
            <ac:spMk id="11" creationId="{DE9F1BE0-7910-FA1B-DCE8-56EFD1E4FC09}"/>
          </ac:spMkLst>
        </pc:spChg>
        <pc:picChg chg="del">
          <ac:chgData name="Mohandas, Gayathri SBOBNG-PTIY/DSC" userId="e39378b6-4b10-4827-a509-661089488511" providerId="ADAL" clId="{CB4C7AC9-1441-4A13-9CE2-64102AA9E7C5}" dt="2024-09-06T15:52:45.769" v="535" actId="478"/>
          <ac:picMkLst>
            <pc:docMk/>
            <pc:sldMk cId="2340944189" sldId="2147375607"/>
            <ac:picMk id="6" creationId="{0918B043-EF03-EEA8-EA69-7E538F3E35E5}"/>
          </ac:picMkLst>
        </pc:picChg>
        <pc:picChg chg="add mod">
          <ac:chgData name="Mohandas, Gayathri SBOBNG-PTIY/DSC" userId="e39378b6-4b10-4827-a509-661089488511" providerId="ADAL" clId="{CB4C7AC9-1441-4A13-9CE2-64102AA9E7C5}" dt="2024-09-06T15:52:48.443" v="537" actId="1076"/>
          <ac:picMkLst>
            <pc:docMk/>
            <pc:sldMk cId="2340944189" sldId="2147375607"/>
            <ac:picMk id="5122" creationId="{BFD3D5B7-87CC-E801-4F2C-C28CD1F699C8}"/>
          </ac:picMkLst>
        </pc:picChg>
      </pc:sldChg>
      <pc:sldChg chg="addSp delSp modSp mod">
        <pc:chgData name="Mohandas, Gayathri SBOBNG-PTIY/DSC" userId="e39378b6-4b10-4827-a509-661089488511" providerId="ADAL" clId="{CB4C7AC9-1441-4A13-9CE2-64102AA9E7C5}" dt="2024-09-06T15:54:25.453" v="619" actId="1076"/>
        <pc:sldMkLst>
          <pc:docMk/>
          <pc:sldMk cId="3159148252" sldId="2147375608"/>
        </pc:sldMkLst>
        <pc:spChg chg="mod">
          <ac:chgData name="Mohandas, Gayathri SBOBNG-PTIY/DSC" userId="e39378b6-4b10-4827-a509-661089488511" providerId="ADAL" clId="{CB4C7AC9-1441-4A13-9CE2-64102AA9E7C5}" dt="2024-09-06T15:53:21.068" v="614" actId="20577"/>
          <ac:spMkLst>
            <pc:docMk/>
            <pc:sldMk cId="3159148252" sldId="2147375608"/>
            <ac:spMk id="11" creationId="{DE9F1BE0-7910-FA1B-DCE8-56EFD1E4FC09}"/>
          </ac:spMkLst>
        </pc:spChg>
        <pc:picChg chg="add mod">
          <ac:chgData name="Mohandas, Gayathri SBOBNG-PTIY/DSC" userId="e39378b6-4b10-4827-a509-661089488511" providerId="ADAL" clId="{CB4C7AC9-1441-4A13-9CE2-64102AA9E7C5}" dt="2024-09-06T15:54:25.453" v="619" actId="1076"/>
          <ac:picMkLst>
            <pc:docMk/>
            <pc:sldMk cId="3159148252" sldId="2147375608"/>
            <ac:picMk id="6" creationId="{36359B5B-E7B6-D774-8B28-C9019FCC0722}"/>
          </ac:picMkLst>
        </pc:picChg>
        <pc:picChg chg="del">
          <ac:chgData name="Mohandas, Gayathri SBOBNG-PTIY/DSC" userId="e39378b6-4b10-4827-a509-661089488511" providerId="ADAL" clId="{CB4C7AC9-1441-4A13-9CE2-64102AA9E7C5}" dt="2024-09-06T15:54:14.731" v="615" actId="478"/>
          <ac:picMkLst>
            <pc:docMk/>
            <pc:sldMk cId="3159148252" sldId="2147375608"/>
            <ac:picMk id="9" creationId="{EBA12784-34FA-384E-96A2-CC2B813FEED9}"/>
          </ac:picMkLst>
        </pc:picChg>
      </pc:sldChg>
      <pc:sldChg chg="addSp delSp modSp mod">
        <pc:chgData name="Mohandas, Gayathri SBOBNG-PTIY/DSC" userId="e39378b6-4b10-4827-a509-661089488511" providerId="ADAL" clId="{CB4C7AC9-1441-4A13-9CE2-64102AA9E7C5}" dt="2024-09-06T15:56:37.586" v="703" actId="1076"/>
        <pc:sldMkLst>
          <pc:docMk/>
          <pc:sldMk cId="3070204084" sldId="2147375609"/>
        </pc:sldMkLst>
        <pc:spChg chg="mod">
          <ac:chgData name="Mohandas, Gayathri SBOBNG-PTIY/DSC" userId="e39378b6-4b10-4827-a509-661089488511" providerId="ADAL" clId="{CB4C7AC9-1441-4A13-9CE2-64102AA9E7C5}" dt="2024-09-06T15:54:58.510" v="652" actId="20577"/>
          <ac:spMkLst>
            <pc:docMk/>
            <pc:sldMk cId="3070204084" sldId="2147375609"/>
            <ac:spMk id="11" creationId="{DE9F1BE0-7910-FA1B-DCE8-56EFD1E4FC09}"/>
          </ac:spMkLst>
        </pc:spChg>
        <pc:picChg chg="del">
          <ac:chgData name="Mohandas, Gayathri SBOBNG-PTIY/DSC" userId="e39378b6-4b10-4827-a509-661089488511" providerId="ADAL" clId="{CB4C7AC9-1441-4A13-9CE2-64102AA9E7C5}" dt="2024-09-06T15:56:28.720" v="700" actId="478"/>
          <ac:picMkLst>
            <pc:docMk/>
            <pc:sldMk cId="3070204084" sldId="2147375609"/>
            <ac:picMk id="5" creationId="{68D71149-C119-8076-84FD-F335CB60D4D5}"/>
          </ac:picMkLst>
        </pc:picChg>
        <pc:picChg chg="add mod">
          <ac:chgData name="Mohandas, Gayathri SBOBNG-PTIY/DSC" userId="e39378b6-4b10-4827-a509-661089488511" providerId="ADAL" clId="{CB4C7AC9-1441-4A13-9CE2-64102AA9E7C5}" dt="2024-09-06T15:56:37.586" v="703" actId="1076"/>
          <ac:picMkLst>
            <pc:docMk/>
            <pc:sldMk cId="3070204084" sldId="2147375609"/>
            <ac:picMk id="6146" creationId="{A81C0BCB-324E-2CE4-4F7B-6822F01F22E5}"/>
          </ac:picMkLst>
        </pc:picChg>
      </pc:sldChg>
      <pc:sldChg chg="modSp mod">
        <pc:chgData name="Mohandas, Gayathri SBOBNG-PTIY/DSC" userId="e39378b6-4b10-4827-a509-661089488511" providerId="ADAL" clId="{CB4C7AC9-1441-4A13-9CE2-64102AA9E7C5}" dt="2024-09-06T15:55:30.540" v="699" actId="20577"/>
        <pc:sldMkLst>
          <pc:docMk/>
          <pc:sldMk cId="3754613224" sldId="2147375611"/>
        </pc:sldMkLst>
        <pc:spChg chg="mod">
          <ac:chgData name="Mohandas, Gayathri SBOBNG-PTIY/DSC" userId="e39378b6-4b10-4827-a509-661089488511" providerId="ADAL" clId="{CB4C7AC9-1441-4A13-9CE2-64102AA9E7C5}" dt="2024-09-06T15:55:10.476" v="674" actId="20577"/>
          <ac:spMkLst>
            <pc:docMk/>
            <pc:sldMk cId="3754613224" sldId="2147375611"/>
            <ac:spMk id="18" creationId="{6C73795A-BE20-7075-E9C6-6F145CE60794}"/>
          </ac:spMkLst>
        </pc:spChg>
        <pc:spChg chg="mod">
          <ac:chgData name="Mohandas, Gayathri SBOBNG-PTIY/DSC" userId="e39378b6-4b10-4827-a509-661089488511" providerId="ADAL" clId="{CB4C7AC9-1441-4A13-9CE2-64102AA9E7C5}" dt="2024-09-06T15:55:25.950" v="695" actId="20577"/>
          <ac:spMkLst>
            <pc:docMk/>
            <pc:sldMk cId="3754613224" sldId="2147375611"/>
            <ac:spMk id="19" creationId="{A3E2F4D1-4417-E244-3DB9-A6FF5866A342}"/>
          </ac:spMkLst>
        </pc:spChg>
        <pc:spChg chg="mod">
          <ac:chgData name="Mohandas, Gayathri SBOBNG-PTIY/DSC" userId="e39378b6-4b10-4827-a509-661089488511" providerId="ADAL" clId="{CB4C7AC9-1441-4A13-9CE2-64102AA9E7C5}" dt="2024-09-06T15:55:30.540" v="699" actId="20577"/>
          <ac:spMkLst>
            <pc:docMk/>
            <pc:sldMk cId="3754613224" sldId="2147375611"/>
            <ac:spMk id="20" creationId="{3EBEB0AC-D407-44FD-A74F-90F67F3D13C3}"/>
          </ac:spMkLst>
        </pc:spChg>
      </pc:sldChg>
      <pc:sldChg chg="addSp delSp modSp mod">
        <pc:chgData name="Mohandas, Gayathri SBOBNG-PTIY/DSC" userId="e39378b6-4b10-4827-a509-661089488511" providerId="ADAL" clId="{CB4C7AC9-1441-4A13-9CE2-64102AA9E7C5}" dt="2024-09-06T16:01:55.983" v="812" actId="1076"/>
        <pc:sldMkLst>
          <pc:docMk/>
          <pc:sldMk cId="1148838763" sldId="2147375613"/>
        </pc:sldMkLst>
        <pc:spChg chg="mod">
          <ac:chgData name="Mohandas, Gayathri SBOBNG-PTIY/DSC" userId="e39378b6-4b10-4827-a509-661089488511" providerId="ADAL" clId="{CB4C7AC9-1441-4A13-9CE2-64102AA9E7C5}" dt="2024-09-06T15:57:19.929" v="745" actId="20577"/>
          <ac:spMkLst>
            <pc:docMk/>
            <pc:sldMk cId="1148838763" sldId="2147375613"/>
            <ac:spMk id="11" creationId="{8CC1343B-2E39-FEFF-8FF6-46822F18B432}"/>
          </ac:spMkLst>
        </pc:spChg>
        <pc:picChg chg="del">
          <ac:chgData name="Mohandas, Gayathri SBOBNG-PTIY/DSC" userId="e39378b6-4b10-4827-a509-661089488511" providerId="ADAL" clId="{CB4C7AC9-1441-4A13-9CE2-64102AA9E7C5}" dt="2024-09-06T16:01:48.641" v="808" actId="478"/>
          <ac:picMkLst>
            <pc:docMk/>
            <pc:sldMk cId="1148838763" sldId="2147375613"/>
            <ac:picMk id="5" creationId="{EC23C745-BD85-2A42-45F6-CCE58C691D7E}"/>
          </ac:picMkLst>
        </pc:picChg>
        <pc:picChg chg="add mod">
          <ac:chgData name="Mohandas, Gayathri SBOBNG-PTIY/DSC" userId="e39378b6-4b10-4827-a509-661089488511" providerId="ADAL" clId="{CB4C7AC9-1441-4A13-9CE2-64102AA9E7C5}" dt="2024-09-06T16:01:55.983" v="812" actId="1076"/>
          <ac:picMkLst>
            <pc:docMk/>
            <pc:sldMk cId="1148838763" sldId="2147375613"/>
            <ac:picMk id="8" creationId="{2C04C900-F23F-A7DA-25BB-1B6625092525}"/>
          </ac:picMkLst>
        </pc:picChg>
      </pc:sldChg>
      <pc:sldChg chg="modSp mod">
        <pc:chgData name="Mohandas, Gayathri SBOBNG-PTIY/DSC" userId="e39378b6-4b10-4827-a509-661089488511" providerId="ADAL" clId="{CB4C7AC9-1441-4A13-9CE2-64102AA9E7C5}" dt="2024-09-06T15:58:14.360" v="807" actId="20577"/>
        <pc:sldMkLst>
          <pc:docMk/>
          <pc:sldMk cId="3865850111" sldId="2147375614"/>
        </pc:sldMkLst>
        <pc:spChg chg="mod">
          <ac:chgData name="Mohandas, Gayathri SBOBNG-PTIY/DSC" userId="e39378b6-4b10-4827-a509-661089488511" providerId="ADAL" clId="{CB4C7AC9-1441-4A13-9CE2-64102AA9E7C5}" dt="2024-09-06T15:58:14.360" v="807" actId="20577"/>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Gayathri Mohandas</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t-2024</a:t>
            </a:r>
          </a:p>
        </p:txBody>
      </p:sp>
      <p:pic>
        <p:nvPicPr>
          <p:cNvPr id="3" name="Picture 2" descr="A person in a blue dress standing in front of a tree&#10;&#10;Description automatically generated">
            <a:extLst>
              <a:ext uri="{FF2B5EF4-FFF2-40B4-BE49-F238E27FC236}">
                <a16:creationId xmlns:a16="http://schemas.microsoft.com/office/drawing/2014/main" id="{760C6BB9-2504-315E-E0E8-8C52997422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6774253" y="1358902"/>
            <a:ext cx="5520262" cy="4140197"/>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39883" y="1860992"/>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a:t>
            </a:r>
          </a:p>
          <a:p>
            <a:pPr marL="0" indent="0">
              <a:buNone/>
            </a:pPr>
            <a:r>
              <a:rPr lang="en-US" sz="2000" dirty="0" err="1"/>
              <a:t>Saas</a:t>
            </a:r>
            <a:r>
              <a:rPr lang="en-US" sz="2000" dirty="0"/>
              <a:t> - </a:t>
            </a:r>
            <a:r>
              <a:rPr lang="en-GB" sz="2000" dirty="0"/>
              <a:t>Google Workspace, Salesforce, Microsoft 365.</a:t>
            </a:r>
          </a:p>
          <a:p>
            <a:pPr marL="0" indent="0">
              <a:buNone/>
            </a:pPr>
            <a:r>
              <a:rPr lang="en-GB" sz="2000" dirty="0" err="1"/>
              <a:t>Paas</a:t>
            </a:r>
            <a:r>
              <a:rPr lang="en-GB" sz="2000" dirty="0"/>
              <a:t> – Microsoft Azure App Services.</a:t>
            </a:r>
          </a:p>
          <a:p>
            <a:pPr marL="0" indent="0">
              <a:buNone/>
            </a:pPr>
            <a:r>
              <a:rPr lang="en-GB" sz="2000" dirty="0" err="1"/>
              <a:t>Iaas</a:t>
            </a:r>
            <a:r>
              <a:rPr lang="en-GB" sz="2000" dirty="0"/>
              <a:t> - Amazon Web Services (AWS), Microsoft Azure, Google Cloud Platform (GCP)</a:t>
            </a:r>
            <a:endParaRPr lang="en-US" sz="2000" dirty="0"/>
          </a:p>
          <a:p>
            <a:pPr marL="0" indent="0">
              <a:buNone/>
            </a:pPr>
            <a:r>
              <a:rPr lang="en-US" sz="2000" dirty="0"/>
              <a:t>How I feel Shell benefits from this learning</a:t>
            </a:r>
          </a:p>
          <a:p>
            <a:r>
              <a:rPr lang="en-US" sz="2000" dirty="0"/>
              <a:t>Scalability</a:t>
            </a:r>
          </a:p>
          <a:p>
            <a:r>
              <a:rPr lang="en-US" sz="2000" dirty="0"/>
              <a:t>Elasticity</a:t>
            </a:r>
          </a:p>
          <a:p>
            <a:r>
              <a:rPr lang="en-US" sz="2000" dirty="0"/>
              <a:t>On demand</a:t>
            </a:r>
          </a:p>
          <a:p>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Microsoft 365 - Office Power">
            <a:extLst>
              <a:ext uri="{FF2B5EF4-FFF2-40B4-BE49-F238E27FC236}">
                <a16:creationId xmlns:a16="http://schemas.microsoft.com/office/drawing/2014/main" id="{58F9E0EB-0610-BD4C-BC8D-1915674A38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07000" y="1191918"/>
            <a:ext cx="6120000" cy="5031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1 and my plan to overcome them</a:t>
            </a:r>
          </a:p>
          <a:p>
            <a:pPr marL="0" indent="0">
              <a:buNone/>
            </a:pPr>
            <a:r>
              <a:rPr lang="en-US" sz="2000" dirty="0"/>
              <a:t>Understanding different testing scenarios</a:t>
            </a:r>
          </a:p>
          <a:p>
            <a:pPr marL="0" indent="0">
              <a:buNone/>
            </a:pPr>
            <a:endParaRPr lang="en-US" sz="2000" dirty="0"/>
          </a:p>
          <a:p>
            <a:pPr marL="0" indent="0">
              <a:buNone/>
            </a:pPr>
            <a:r>
              <a:rPr lang="en-US" sz="2000" dirty="0"/>
              <a:t>https://</a:t>
            </a:r>
            <a:r>
              <a:rPr lang="en-US" sz="2000" dirty="0" err="1"/>
              <a:t>github.com</a:t>
            </a:r>
            <a:r>
              <a:rPr lang="en-US" sz="2000" dirty="0"/>
              <a:t>/Gayathri-Mohandas/</a:t>
            </a:r>
            <a:r>
              <a:rPr lang="en-US" sz="2000" dirty="0" err="1"/>
              <a:t>UNext</a:t>
            </a:r>
            <a:r>
              <a:rPr lang="en-US" sz="2000" dirty="0"/>
              <a:t>-Bootcamp</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Why does Test Scenario save time and money than Test Case? | AGILEAN ...">
            <a:extLst>
              <a:ext uri="{FF2B5EF4-FFF2-40B4-BE49-F238E27FC236}">
                <a16:creationId xmlns:a16="http://schemas.microsoft.com/office/drawing/2014/main" id="{BFD3D5B7-87CC-E801-4F2C-C28CD1F699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2132115"/>
            <a:ext cx="4514850" cy="30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2 and my plan to overcome them</a:t>
            </a:r>
          </a:p>
          <a:p>
            <a:pPr marL="0" indent="0">
              <a:buNone/>
            </a:pPr>
            <a:r>
              <a:rPr lang="en-US" sz="2000" dirty="0"/>
              <a:t>Clone a repo</a:t>
            </a:r>
          </a:p>
          <a:p>
            <a:pPr marL="0" indent="0">
              <a:buNone/>
            </a:pPr>
            <a:r>
              <a:rPr lang="en-US" sz="2000" dirty="0"/>
              <a:t>Resolved via </a:t>
            </a:r>
            <a:r>
              <a:rPr lang="en-US" sz="2000" dirty="0" err="1"/>
              <a:t>github</a:t>
            </a:r>
            <a:r>
              <a:rPr lang="en-US" sz="2000" dirty="0"/>
              <a:t> username and email command</a:t>
            </a:r>
          </a:p>
          <a:p>
            <a:pPr marL="0" indent="0">
              <a:buNone/>
            </a:pPr>
            <a:endParaRPr lang="en-US" sz="2000" dirty="0"/>
          </a:p>
          <a:p>
            <a:pPr marL="0" indent="0">
              <a:buNone/>
            </a:pPr>
            <a:r>
              <a:rPr lang="en-US" sz="2000" dirty="0"/>
              <a:t>https://</a:t>
            </a:r>
            <a:r>
              <a:rPr lang="en-US" sz="2000" dirty="0" err="1"/>
              <a:t>github.com</a:t>
            </a:r>
            <a:r>
              <a:rPr lang="en-US" sz="2000" dirty="0"/>
              <a:t>/Gayathri-Mohandas/</a:t>
            </a:r>
            <a:r>
              <a:rPr lang="en-US" sz="2000" dirty="0" err="1"/>
              <a:t>UNext</a:t>
            </a:r>
            <a:r>
              <a:rPr lang="en-US" sz="2000" dirty="0"/>
              <a:t>-Bootcamp</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36359B5B-E7B6-D774-8B28-C9019FCC0722}"/>
              </a:ext>
            </a:extLst>
          </p:cNvPr>
          <p:cNvPicPr>
            <a:picLocks noChangeAspect="1"/>
          </p:cNvPicPr>
          <p:nvPr/>
        </p:nvPicPr>
        <p:blipFill>
          <a:blip r:embed="rId7"/>
          <a:stretch>
            <a:fillRect/>
          </a:stretch>
        </p:blipFill>
        <p:spPr>
          <a:xfrm>
            <a:off x="6400799" y="2331720"/>
            <a:ext cx="5400000" cy="2835000"/>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3 and my plan to overcome them</a:t>
            </a:r>
          </a:p>
          <a:p>
            <a:pPr marL="0" indent="0">
              <a:buNone/>
            </a:pPr>
            <a:r>
              <a:rPr lang="en-US" sz="2000" dirty="0"/>
              <a:t>Scenarios and examples of cloud</a:t>
            </a:r>
          </a:p>
          <a:p>
            <a:pPr marL="0" indent="0">
              <a:buNone/>
            </a:pPr>
            <a:endParaRPr lang="en-US" sz="2000" dirty="0"/>
          </a:p>
          <a:p>
            <a:pPr marL="0" indent="0">
              <a:buNone/>
            </a:pPr>
            <a:r>
              <a:rPr lang="en-US" sz="2000" dirty="0"/>
              <a:t>https://</a:t>
            </a:r>
            <a:r>
              <a:rPr lang="en-US" sz="2000" dirty="0" err="1"/>
              <a:t>github.com</a:t>
            </a:r>
            <a:r>
              <a:rPr lang="en-US" sz="2000" dirty="0"/>
              <a:t>/Gayathri-Mohandas/</a:t>
            </a:r>
            <a:r>
              <a:rPr lang="en-US" sz="2000" dirty="0" err="1"/>
              <a:t>UNext</a:t>
            </a:r>
            <a:r>
              <a:rPr lang="en-US" sz="2000" dirty="0"/>
              <a:t>-Bootcamp</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146" name="Picture 2" descr="The Ultimate Guide to Cloud Computing: What Your Business Needs To Know">
            <a:extLst>
              <a:ext uri="{FF2B5EF4-FFF2-40B4-BE49-F238E27FC236}">
                <a16:creationId xmlns:a16="http://schemas.microsoft.com/office/drawing/2014/main" id="{A81C0BCB-324E-2CE4-4F7B-6822F01F22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29298" y="2387113"/>
            <a:ext cx="5760000" cy="302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1. </a:t>
            </a:r>
            <a:r>
              <a:rPr lang="en-US" sz="2000" dirty="0" err="1">
                <a:effectLst>
                  <a:outerShdw blurRad="38100" dist="38100" dir="2700000" algn="tl">
                    <a:srgbClr val="000000">
                      <a:alpha val="43137"/>
                    </a:srgbClr>
                  </a:outerShdw>
                </a:effectLst>
              </a:rPr>
              <a:t>Github</a:t>
            </a:r>
            <a:r>
              <a:rPr lang="en-US" sz="2000" dirty="0">
                <a:effectLst>
                  <a:outerShdw blurRad="38100" dist="38100" dir="2700000" algn="tl">
                    <a:srgbClr val="000000">
                      <a:alpha val="43137"/>
                    </a:srgbClr>
                  </a:outerShdw>
                </a:effectLst>
              </a:rPr>
              <a:t> workflow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2. Azure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Agil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ctr">
              <a:buFont typeface="Arial" panose="020B0604020202020204" pitchFamily="34" charset="0"/>
              <a:buAutoNum type="arabicPeriod"/>
            </a:pPr>
            <a:r>
              <a:rPr lang="en-US" sz="2000" dirty="0">
                <a:effectLst>
                  <a:outerShdw blurRad="38100" dist="38100" dir="2700000" algn="tl">
                    <a:srgbClr val="000000">
                      <a:alpha val="43137"/>
                    </a:srgbClr>
                  </a:outerShdw>
                </a:effectLst>
              </a:rPr>
              <a:t>YouTube lectures</a:t>
            </a:r>
          </a:p>
          <a:p>
            <a:pPr marL="457200" indent="-457200" algn="ctr">
              <a:buFont typeface="Arial" panose="020B0604020202020204" pitchFamily="34" charset="0"/>
              <a:buAutoNum type="arabicPeriod"/>
            </a:pPr>
            <a:r>
              <a:rPr lang="en-US" sz="2000" dirty="0">
                <a:effectLst>
                  <a:outerShdw blurRad="38100" dist="38100" dir="2700000" algn="tl">
                    <a:srgbClr val="000000">
                      <a:alpha val="43137"/>
                    </a:srgbClr>
                  </a:outerShdw>
                </a:effectLst>
              </a:rPr>
              <a:t>Watch more YouTube tutorial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ctr">
              <a:buFont typeface="Arial" panose="020B0604020202020204" pitchFamily="34" charset="0"/>
              <a:buAutoNum type="arabicPeriod"/>
            </a:pPr>
            <a:r>
              <a:rPr lang="en-US" sz="2000" dirty="0">
                <a:effectLst>
                  <a:outerShdw blurRad="38100" dist="38100" dir="2700000" algn="tl">
                    <a:srgbClr val="000000">
                      <a:alpha val="43137"/>
                    </a:srgbClr>
                  </a:outerShdw>
                </a:effectLst>
              </a:rPr>
              <a:t>done</a:t>
            </a:r>
          </a:p>
          <a:p>
            <a:pPr marL="457200" indent="-457200" algn="ctr">
              <a:buFont typeface="Arial" panose="020B0604020202020204" pitchFamily="34" charset="0"/>
              <a:buAutoNum type="arabicPeriod"/>
            </a:pPr>
            <a:r>
              <a:rPr lang="en-US" sz="2000" dirty="0">
                <a:effectLst>
                  <a:outerShdw blurRad="38100" dist="38100" dir="2700000" algn="tl">
                    <a:srgbClr val="000000">
                      <a:alpha val="43137"/>
                    </a:srgbClr>
                  </a:outerShdw>
                </a:effectLst>
              </a:rPr>
              <a:t>In progres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how ”Your” learning was fun this week</a:t>
            </a:r>
          </a:p>
          <a:p>
            <a:r>
              <a:rPr lang="en-US" sz="2000" dirty="0"/>
              <a:t>JAM sessions</a:t>
            </a:r>
          </a:p>
          <a:p>
            <a:r>
              <a:rPr lang="en-US" sz="2000" dirty="0"/>
              <a:t>Hands on implementation of </a:t>
            </a:r>
            <a:r>
              <a:rPr lang="en-US" sz="2000" dirty="0" err="1"/>
              <a:t>Vm</a:t>
            </a:r>
            <a:endParaRPr lang="en-US" sz="2000" dirty="0"/>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2C04C900-F23F-A7DA-25BB-1B6625092525}"/>
              </a:ext>
            </a:extLst>
          </p:cNvPr>
          <p:cNvPicPr>
            <a:picLocks noChangeAspect="1"/>
          </p:cNvPicPr>
          <p:nvPr/>
        </p:nvPicPr>
        <p:blipFill>
          <a:blip r:embed="rId7"/>
          <a:stretch>
            <a:fillRect/>
          </a:stretch>
        </p:blipFill>
        <p:spPr>
          <a:xfrm>
            <a:off x="6196153" y="2642597"/>
            <a:ext cx="5760000" cy="2718682"/>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en-US" sz="2000" dirty="0"/>
          </a:p>
          <a:p>
            <a:pPr>
              <a:lnSpc>
                <a:spcPct val="100000"/>
              </a:lnSpc>
            </a:pPr>
            <a:r>
              <a:rPr lang="en-US" sz="1800" dirty="0"/>
              <a:t>DBMS, Software testing, </a:t>
            </a:r>
            <a:r>
              <a:rPr lang="en-US" sz="1800" dirty="0" err="1"/>
              <a:t>Devops</a:t>
            </a:r>
            <a:r>
              <a:rPr lang="en-US" sz="1800" dirty="0"/>
              <a:t>, Cloud, Case work</a:t>
            </a:r>
          </a:p>
          <a:p>
            <a:pPr>
              <a:lnSpc>
                <a:spcPct val="100000"/>
              </a:lnSpc>
            </a:pPr>
            <a:endParaRPr lang="en-US" sz="1800" dirty="0"/>
          </a:p>
          <a:p>
            <a:pPr>
              <a:lnSpc>
                <a:spcPct val="100000"/>
              </a:lnSpc>
            </a:pPr>
            <a:r>
              <a:rPr lang="en-US" sz="1800" dirty="0"/>
              <a:t>Hands on sessions of </a:t>
            </a:r>
            <a:r>
              <a:rPr lang="en-US" sz="1800" dirty="0" err="1"/>
              <a:t>Vm</a:t>
            </a:r>
            <a:r>
              <a:rPr lang="en-US" sz="1800" dirty="0"/>
              <a:t>, Agile, workflows, </a:t>
            </a:r>
            <a:r>
              <a:rPr lang="en-US" sz="1800" dirty="0" err="1"/>
              <a:t>github</a:t>
            </a:r>
            <a:r>
              <a:rPr lang="en-US" sz="1800" dirty="0"/>
              <a:t> actions</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We all are on our own journey, at our own pace.</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8" name="Picture 4" descr="Brown turtle in water during daytime photo – Free Nature Image on Unsplash">
            <a:extLst>
              <a:ext uri="{FF2B5EF4-FFF2-40B4-BE49-F238E27FC236}">
                <a16:creationId xmlns:a16="http://schemas.microsoft.com/office/drawing/2014/main" id="{54175105-3B2E-3D1D-7D73-1E16272B66F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16688"/>
          <a:stretch/>
        </p:blipFill>
        <p:spPr bwMode="auto">
          <a:xfrm>
            <a:off x="7437697" y="1812888"/>
            <a:ext cx="3276912" cy="4095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0" i="0">
                <a:solidFill>
                  <a:srgbClr val="111111"/>
                </a:solidFill>
                <a:effectLst/>
                <a:highlight>
                  <a:srgbClr val="F7F7F7"/>
                </a:highlight>
                <a:latin typeface="-apple-system"/>
              </a:rPr>
              <a:t>Unit Testing</a:t>
            </a:r>
          </a:p>
          <a:p>
            <a:pPr algn="l"/>
            <a:r>
              <a:rPr lang="en-GB" sz="1800" b="0" i="0">
                <a:solidFill>
                  <a:srgbClr val="111111"/>
                </a:solidFill>
                <a:effectLst/>
                <a:highlight>
                  <a:srgbClr val="F7F7F7"/>
                </a:highlight>
                <a:latin typeface="-apple-system"/>
              </a:rPr>
              <a:t>Purpose: Tests individual components or functions.</a:t>
            </a:r>
          </a:p>
          <a:p>
            <a:pPr algn="l"/>
            <a:r>
              <a:rPr lang="en-GB" sz="1800" b="0" i="0">
                <a:solidFill>
                  <a:srgbClr val="111111"/>
                </a:solidFill>
                <a:effectLst/>
                <a:highlight>
                  <a:srgbClr val="F7F7F7"/>
                </a:highlight>
                <a:latin typeface="-apple-system"/>
              </a:rPr>
              <a:t>Focus: Ensures each part works correctly in isolation.</a:t>
            </a:r>
          </a:p>
          <a:p>
            <a:pPr algn="l"/>
            <a:r>
              <a:rPr lang="en-GB" sz="1800" b="0" i="0">
                <a:solidFill>
                  <a:srgbClr val="111111"/>
                </a:solidFill>
                <a:effectLst/>
                <a:highlight>
                  <a:srgbClr val="F7F7F7"/>
                </a:highlight>
                <a:latin typeface="-apple-system"/>
              </a:rPr>
              <a:t>Integration Testing</a:t>
            </a:r>
          </a:p>
          <a:p>
            <a:pPr algn="l"/>
            <a:r>
              <a:rPr lang="en-GB" sz="1800" b="0" i="0">
                <a:solidFill>
                  <a:srgbClr val="111111"/>
                </a:solidFill>
                <a:effectLst/>
                <a:highlight>
                  <a:srgbClr val="F7F7F7"/>
                </a:highlight>
                <a:latin typeface="-apple-system"/>
              </a:rPr>
              <a:t>Purpose: Tests interactions between integrated units or modules.</a:t>
            </a:r>
          </a:p>
          <a:p>
            <a:pPr algn="l"/>
            <a:r>
              <a:rPr lang="en-GB" sz="1800" b="0" i="0">
                <a:solidFill>
                  <a:srgbClr val="111111"/>
                </a:solidFill>
                <a:effectLst/>
                <a:highlight>
                  <a:srgbClr val="F7F7F7"/>
                </a:highlight>
                <a:latin typeface="-apple-system"/>
              </a:rPr>
              <a:t>Focus: Identifies issues in interfaces and interactions.</a:t>
            </a:r>
          </a:p>
          <a:p>
            <a:pPr algn="l"/>
            <a:r>
              <a:rPr lang="en-GB" sz="1800" b="0" i="0">
                <a:solidFill>
                  <a:srgbClr val="111111"/>
                </a:solidFill>
                <a:effectLst/>
                <a:highlight>
                  <a:srgbClr val="F7F7F7"/>
                </a:highlight>
                <a:latin typeface="-apple-system"/>
              </a:rPr>
              <a:t>System Testing</a:t>
            </a:r>
          </a:p>
          <a:p>
            <a:pPr algn="l"/>
            <a:r>
              <a:rPr lang="en-GB" sz="1800" b="0" i="0">
                <a:solidFill>
                  <a:srgbClr val="111111"/>
                </a:solidFill>
                <a:effectLst/>
                <a:highlight>
                  <a:srgbClr val="F7F7F7"/>
                </a:highlight>
                <a:latin typeface="-apple-system"/>
              </a:rPr>
              <a:t>Purpose: Tests the complete and integrated application.</a:t>
            </a:r>
          </a:p>
          <a:p>
            <a:pPr algn="l"/>
            <a:r>
              <a:rPr lang="en-GB" sz="1800" b="0" i="0">
                <a:solidFill>
                  <a:srgbClr val="111111"/>
                </a:solidFill>
                <a:effectLst/>
                <a:highlight>
                  <a:srgbClr val="F7F7F7"/>
                </a:highlight>
                <a:latin typeface="-apple-system"/>
              </a:rPr>
              <a:t>Focus: Verifies the system meets specified requirements.</a:t>
            </a:r>
            <a:endParaRPr lang="en-GB" sz="1800" b="0" i="0" dirty="0">
              <a:solidFill>
                <a:srgbClr val="111111"/>
              </a:solidFill>
              <a:effectLst/>
              <a:highlight>
                <a:srgbClr val="F7F7F7"/>
              </a:highlight>
              <a:latin typeface="-apple-system"/>
            </a:endParaRPr>
          </a:p>
        </p:txBody>
      </p:sp>
      <p:pic>
        <p:nvPicPr>
          <p:cNvPr id="1026" name="Picture 2" descr="People testing software fixing bugs in hardware device. Application ...">
            <a:extLst>
              <a:ext uri="{FF2B5EF4-FFF2-40B4-BE49-F238E27FC236}">
                <a16:creationId xmlns:a16="http://schemas.microsoft.com/office/drawing/2014/main" id="{24D07740-77CB-EC86-C5FF-D2D962E7D6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96660" y="1800210"/>
            <a:ext cx="5400000" cy="360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GB" sz="2000" dirty="0"/>
          </a:p>
          <a:p>
            <a:pPr marL="0" indent="0">
              <a:buFont typeface="Arial" panose="020B0604020202020204" pitchFamily="34" charset="0"/>
              <a:buNone/>
            </a:pPr>
            <a:r>
              <a:rPr lang="en-GB" sz="2000" dirty="0"/>
              <a:t>CI/CD in GitHub workflows automates the software development process, ensuring faster and more reliable code deployments. It helps catch bugs early through continuous integration and testing, improving code quality. Continuous delivery/deployment ensures that updates are consistently and safely released to production. This leads to more efficient development cycles and higher-quality softwar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8DEEEA3F-A50F-A92E-0679-68B64E5FDB54}"/>
              </a:ext>
            </a:extLst>
          </p:cNvPr>
          <p:cNvPicPr>
            <a:picLocks noChangeAspect="1"/>
          </p:cNvPicPr>
          <p:nvPr/>
        </p:nvPicPr>
        <p:blipFill>
          <a:blip r:embed="rId7"/>
          <a:stretch>
            <a:fillRect/>
          </a:stretch>
        </p:blipFill>
        <p:spPr>
          <a:xfrm>
            <a:off x="6432000" y="2387113"/>
            <a:ext cx="5760000" cy="302400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dirty="0"/>
              <a:t>The cloud provides scalable and flexible resources, allowing businesses to adjust their computing power based on demand. It enhances collaboration by enabling access to data and applications from anywhere, at any time. Cloud services also offer cost savings by reducing the need for physical infrastructure and maintenance. Additionally, it ensures data security and disaster recovery through robust backup and recovery solutions.</a:t>
            </a:r>
          </a:p>
          <a:p>
            <a:pPr marL="0" indent="0">
              <a:buFont typeface="Arial" panose="020B0604020202020204" pitchFamily="34" charset="0"/>
              <a:buNone/>
            </a:pPr>
            <a:r>
              <a:rPr lang="en-GB" sz="2000" dirty="0" err="1"/>
              <a:t>Iaas</a:t>
            </a:r>
            <a:r>
              <a:rPr lang="en-GB" sz="2000" dirty="0"/>
              <a:t>, </a:t>
            </a:r>
            <a:r>
              <a:rPr lang="en-GB" sz="2000" dirty="0" err="1"/>
              <a:t>Paas</a:t>
            </a:r>
            <a:r>
              <a:rPr lang="en-GB" sz="2000" dirty="0"/>
              <a:t>, </a:t>
            </a:r>
            <a:r>
              <a:rPr lang="en-GB" sz="2000" dirty="0" err="1"/>
              <a:t>Saa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6" name="Picture 8" descr="How the World is Getting Taken Over by the SaaS Cloud Business Model">
            <a:extLst>
              <a:ext uri="{FF2B5EF4-FFF2-40B4-BE49-F238E27FC236}">
                <a16:creationId xmlns:a16="http://schemas.microsoft.com/office/drawing/2014/main" id="{7EE043F5-797C-C08F-B90F-32E4B44539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9" y="1442518"/>
            <a:ext cx="5400000" cy="4528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a:t>
            </a:r>
          </a:p>
          <a:p>
            <a:r>
              <a:rPr lang="en-US" sz="2000" dirty="0"/>
              <a:t>Unit testing performed on individual components. Followed by integration testing and even system testing.</a:t>
            </a:r>
          </a:p>
          <a:p>
            <a:r>
              <a:rPr lang="en-US" sz="2000" dirty="0"/>
              <a:t>Adding on regular smoke tests and regression tests when new codes modified.</a:t>
            </a:r>
          </a:p>
          <a:p>
            <a:pPr marL="0" indent="0">
              <a:buNone/>
            </a:pPr>
            <a:endParaRPr lang="en-US" sz="2000" dirty="0"/>
          </a:p>
          <a:p>
            <a:pPr marL="0" indent="0">
              <a:buNone/>
            </a:pPr>
            <a:r>
              <a:rPr lang="en-US" sz="2000" dirty="0"/>
              <a:t>How I feel Shell benefits from this learning</a:t>
            </a:r>
          </a:p>
          <a:p>
            <a:r>
              <a:rPr lang="en-US" sz="2000" dirty="0"/>
              <a:t>Ensures the units and modules are up</a:t>
            </a:r>
          </a:p>
          <a:p>
            <a:r>
              <a:rPr lang="en-US" sz="2000" dirty="0"/>
              <a:t>Exhaustive tests when new codes are introduced ensures the safety of system</a:t>
            </a:r>
          </a:p>
          <a:p>
            <a:endParaRPr lang="en-US" sz="2000" dirty="0"/>
          </a:p>
          <a:p>
            <a:pPr marL="0" indent="0">
              <a:buNone/>
            </a:pPr>
            <a:endParaRPr lang="en-US" sz="2000" dirty="0"/>
          </a:p>
          <a:p>
            <a:pPr marL="0" indent="0">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6" name="Picture 4" descr="Automated Regression Testing and Tools for Today’s Demands">
            <a:extLst>
              <a:ext uri="{FF2B5EF4-FFF2-40B4-BE49-F238E27FC236}">
                <a16:creationId xmlns:a16="http://schemas.microsoft.com/office/drawing/2014/main" id="{7DAA1557-2AFC-91FD-E329-4C0B7A64DE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93535" y="2292350"/>
            <a:ext cx="4514850" cy="2781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a:t>
            </a:r>
          </a:p>
          <a:p>
            <a:pPr marL="0" indent="0">
              <a:buNone/>
            </a:pPr>
            <a:r>
              <a:rPr lang="en-GB" sz="2000" dirty="0"/>
              <a:t>Improved Efficiency: Streamlines and automates repeatable tasks, reducing errors and saving time1.</a:t>
            </a:r>
          </a:p>
          <a:p>
            <a:pPr marL="0" indent="0">
              <a:buNone/>
            </a:pPr>
            <a:r>
              <a:rPr lang="en-GB" sz="2000" dirty="0"/>
              <a:t>Enhanced Collaboration: Provides better visibility into tasks, enabling team members to work together more effectively2.</a:t>
            </a:r>
          </a:p>
          <a:p>
            <a:pPr marL="0" indent="0">
              <a:buNone/>
            </a:pPr>
            <a:endParaRPr lang="en-US" sz="2000" dirty="0"/>
          </a:p>
          <a:p>
            <a:pPr marL="0" indent="0">
              <a:buNone/>
            </a:pPr>
            <a:r>
              <a:rPr lang="en-US" sz="2000" dirty="0"/>
              <a:t>How I feel Shell benefits from this learning</a:t>
            </a:r>
          </a:p>
          <a:p>
            <a:r>
              <a:rPr lang="en-US" sz="2000" dirty="0"/>
              <a:t>Cost savings</a:t>
            </a:r>
          </a:p>
          <a:p>
            <a:r>
              <a:rPr lang="en-US" sz="2000" dirty="0"/>
              <a:t>Increased Transparency</a:t>
            </a:r>
          </a:p>
          <a:p>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27D3D9B3-8CF5-CD02-9B12-6D43532CAB31}"/>
              </a:ext>
            </a:extLst>
          </p:cNvPr>
          <p:cNvPicPr>
            <a:picLocks noChangeAspect="1"/>
          </p:cNvPicPr>
          <p:nvPr/>
        </p:nvPicPr>
        <p:blipFill>
          <a:blip r:embed="rId7"/>
          <a:stretch>
            <a:fillRect/>
          </a:stretch>
        </p:blipFill>
        <p:spPr>
          <a:xfrm>
            <a:off x="6432000" y="2387113"/>
            <a:ext cx="5760000" cy="3024000"/>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75</TotalTime>
  <Words>649</Words>
  <Application>Microsoft Office PowerPoint</Application>
  <PresentationFormat>Widescreen</PresentationFormat>
  <Paragraphs>101</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pple-system</vt: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Mohandas, Gayathri SBOBNG-PTIY/DSC</cp:lastModifiedBy>
  <cp:revision>507</cp:revision>
  <dcterms:created xsi:type="dcterms:W3CDTF">2022-01-18T12:35:56Z</dcterms:created>
  <dcterms:modified xsi:type="dcterms:W3CDTF">2024-09-06T16:0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